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1"/>
  </p:notesMasterIdLst>
  <p:sldIdLst>
    <p:sldId id="281" r:id="rId2"/>
    <p:sldId id="282" r:id="rId3"/>
    <p:sldId id="447" r:id="rId4"/>
    <p:sldId id="316" r:id="rId5"/>
    <p:sldId id="324" r:id="rId6"/>
    <p:sldId id="393" r:id="rId7"/>
    <p:sldId id="339" r:id="rId8"/>
    <p:sldId id="423" r:id="rId9"/>
    <p:sldId id="433" r:id="rId10"/>
    <p:sldId id="435" r:id="rId11"/>
    <p:sldId id="437" r:id="rId12"/>
    <p:sldId id="438" r:id="rId13"/>
    <p:sldId id="440" r:id="rId14"/>
    <p:sldId id="441" r:id="rId15"/>
    <p:sldId id="442" r:id="rId16"/>
    <p:sldId id="443" r:id="rId17"/>
    <p:sldId id="448" r:id="rId18"/>
    <p:sldId id="343" r:id="rId19"/>
    <p:sldId id="461" r:id="rId20"/>
    <p:sldId id="449" r:id="rId21"/>
    <p:sldId id="427" r:id="rId22"/>
    <p:sldId id="428" r:id="rId23"/>
    <p:sldId id="467" r:id="rId24"/>
    <p:sldId id="418" r:id="rId25"/>
    <p:sldId id="465" r:id="rId26"/>
    <p:sldId id="468" r:id="rId27"/>
    <p:sldId id="470" r:id="rId28"/>
    <p:sldId id="469" r:id="rId29"/>
    <p:sldId id="475" r:id="rId30"/>
    <p:sldId id="471" r:id="rId31"/>
    <p:sldId id="477" r:id="rId32"/>
    <p:sldId id="478" r:id="rId33"/>
    <p:sldId id="479" r:id="rId34"/>
    <p:sldId id="480" r:id="rId35"/>
    <p:sldId id="481" r:id="rId36"/>
    <p:sldId id="430" r:id="rId37"/>
    <p:sldId id="328" r:id="rId38"/>
    <p:sldId id="432" r:id="rId39"/>
    <p:sldId id="426" r:id="rId40"/>
    <p:sldId id="444" r:id="rId41"/>
    <p:sldId id="484" r:id="rId42"/>
    <p:sldId id="487" r:id="rId43"/>
    <p:sldId id="485" r:id="rId44"/>
    <p:sldId id="488" r:id="rId45"/>
    <p:sldId id="489" r:id="rId46"/>
    <p:sldId id="490" r:id="rId47"/>
    <p:sldId id="491" r:id="rId48"/>
    <p:sldId id="492" r:id="rId49"/>
    <p:sldId id="493" r:id="rId50"/>
  </p:sldIdLst>
  <p:sldSz cx="12192000" cy="6858000"/>
  <p:notesSz cx="6858000" cy="9144000"/>
  <p:custDataLst>
    <p:tags r:id="rId5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91839" autoAdjust="0"/>
  </p:normalViewPr>
  <p:slideViewPr>
    <p:cSldViewPr snapToGrid="0">
      <p:cViewPr>
        <p:scale>
          <a:sx n="79" d="100"/>
          <a:sy n="79" d="100"/>
        </p:scale>
        <p:origin x="1061" y="38"/>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3.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4.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5.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7.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 Id="rId4" Type="http://schemas.openxmlformats.org/officeDocument/2006/relationships/image" Target="../media/image81.pn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4.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1.png"/><Relationship Id="rId11"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7.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7.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1.png"/><Relationship Id="rId11" Type="http://schemas.openxmlformats.org/officeDocument/2006/relationships/image" Target="../media/image89.png"/><Relationship Id="rId5" Type="http://schemas.openxmlformats.org/officeDocument/2006/relationships/image" Target="../media/image82.png"/><Relationship Id="rId10" Type="http://schemas.openxmlformats.org/officeDocument/2006/relationships/image" Target="../media/image84.svg"/><Relationship Id="rId4" Type="http://schemas.openxmlformats.org/officeDocument/2006/relationships/image" Target="../media/image1.emf"/><Relationship Id="rId9" Type="http://schemas.openxmlformats.org/officeDocument/2006/relationships/image" Target="../media/image83.png"/><Relationship Id="rId14" Type="http://schemas.openxmlformats.org/officeDocument/2006/relationships/image" Target="../media/image92.png"/></Relationships>
</file>

<file path=ppt/slides/_rels/slide4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40.xml"/><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emf"/><Relationship Id="rId10" Type="http://schemas.openxmlformats.org/officeDocument/2006/relationships/image" Target="../media/image107.png"/><Relationship Id="rId4" Type="http://schemas.openxmlformats.org/officeDocument/2006/relationships/oleObject" Target="../embeddings/oleObject6.bin"/><Relationship Id="rId9" Type="http://schemas.openxmlformats.org/officeDocument/2006/relationships/image" Target="../media/image106.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7.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862763" y="328259"/>
            <a:ext cx="2665611" cy="1821146"/>
            <a:chOff x="6862763" y="328259"/>
            <a:chExt cx="2665611" cy="1821146"/>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862763" y="328259"/>
              <a:ext cx="2665611" cy="1821146"/>
              <a:chOff x="7857637" y="52576"/>
              <a:chExt cx="2665611" cy="1821146"/>
            </a:xfrm>
          </p:grpSpPr>
          <p:sp>
            <p:nvSpPr>
              <p:cNvPr id="20" name="Ellipse 19"/>
              <p:cNvSpPr/>
              <p:nvPr/>
            </p:nvSpPr>
            <p:spPr>
              <a:xfrm>
                <a:off x="9820135" y="1392999"/>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857637" y="5257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7</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0</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6</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30"/>
            <a:ext cx="4996444" cy="5715356"/>
            <a:chOff x="2690231" y="189230"/>
            <a:chExt cx="4996444" cy="5715356"/>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30"/>
              <a:ext cx="4996444" cy="5715356"/>
              <a:chOff x="2690231" y="189230"/>
              <a:chExt cx="4996444" cy="5715356"/>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30"/>
                <a:ext cx="4930523" cy="570433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632486" y="80308"/>
            <a:ext cx="4215864" cy="6659283"/>
            <a:chOff x="3632736" y="-66675"/>
            <a:chExt cx="4215864" cy="6659283"/>
          </a:xfrm>
        </p:grpSpPr>
        <p:sp>
          <p:nvSpPr>
            <p:cNvPr id="19" name="Rechteck 18">
              <a:extLst>
                <a:ext uri="{FF2B5EF4-FFF2-40B4-BE49-F238E27FC236}">
                  <a16:creationId xmlns:a16="http://schemas.microsoft.com/office/drawing/2014/main" id="{EECCDEF0-5E45-804D-745D-F949B80BEC5E}"/>
                </a:ext>
              </a:extLst>
            </p:cNvPr>
            <p:cNvSpPr/>
            <p:nvPr/>
          </p:nvSpPr>
          <p:spPr>
            <a:xfrm>
              <a:off x="3632736" y="-66675"/>
              <a:ext cx="4215864" cy="6654092"/>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632736" y="0"/>
              <a:ext cx="4215864" cy="6592608"/>
              <a:chOff x="3651786" y="176811"/>
              <a:chExt cx="4215864" cy="6592608"/>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651786" y="176811"/>
                <a:ext cx="4215864" cy="6592608"/>
                <a:chOff x="1490477" y="1988211"/>
                <a:chExt cx="4215864" cy="6592608"/>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490477" y="2258794"/>
                  <a:ext cx="4215864" cy="6322025"/>
                  <a:chOff x="1490477" y="2258794"/>
                  <a:chExt cx="4215864" cy="6322025"/>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5619098"/>
                    <a:ext cx="3938865" cy="2681614"/>
                  </a:xfrm>
                  <a:prstGeom prst="rect">
                    <a:avLst/>
                  </a:prstGeom>
                </p:spPr>
              </p:pic>
              <p:sp>
                <p:nvSpPr>
                  <p:cNvPr id="197" name="Textfeld 196">
                    <a:extLst>
                      <a:ext uri="{FF2B5EF4-FFF2-40B4-BE49-F238E27FC236}">
                        <a16:creationId xmlns:a16="http://schemas.microsoft.com/office/drawing/2014/main" id="{1B34C028-923D-E300-49A5-43459286CA75}"/>
                      </a:ext>
                    </a:extLst>
                  </p:cNvPr>
                  <p:cNvSpPr txBox="1"/>
                  <p:nvPr/>
                </p:nvSpPr>
                <p:spPr>
                  <a:xfrm rot="16200000">
                    <a:off x="372519" y="6764725"/>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199" name="Textfeld 198">
                    <a:extLst>
                      <a:ext uri="{FF2B5EF4-FFF2-40B4-BE49-F238E27FC236}">
                        <a16:creationId xmlns:a16="http://schemas.microsoft.com/office/drawing/2014/main" id="{39AF27F0-7E29-50E6-ADAD-6C19AD3A5E00}"/>
                      </a:ext>
                    </a:extLst>
                  </p:cNvPr>
                  <p:cNvSpPr txBox="1"/>
                  <p:nvPr/>
                </p:nvSpPr>
                <p:spPr>
                  <a:xfrm>
                    <a:off x="3023948" y="83038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535804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2" name="Textfeld 1">
            <a:extLst>
              <a:ext uri="{FF2B5EF4-FFF2-40B4-BE49-F238E27FC236}">
                <a16:creationId xmlns:a16="http://schemas.microsoft.com/office/drawing/2014/main" id="{916C4B45-AA4A-1115-EE26-364C6AAB530F}"/>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721056932"/>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665427"/>
            <a:ext cx="3695440" cy="4672088"/>
            <a:chOff x="5239355" y="665427"/>
            <a:chExt cx="3695440" cy="4672088"/>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665427"/>
              <a:ext cx="3695440" cy="4672088"/>
              <a:chOff x="5239355" y="665427"/>
              <a:chExt cx="3695440" cy="4672088"/>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665427"/>
                <a:ext cx="3695440" cy="4672088"/>
                <a:chOff x="5239355" y="665427"/>
                <a:chExt cx="3695440" cy="4672088"/>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665427"/>
                  <a:ext cx="3695440" cy="4672088"/>
                  <a:chOff x="5291815" y="47358"/>
                  <a:chExt cx="3695440" cy="4672088"/>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47358"/>
                    <a:ext cx="3695440" cy="4672088"/>
                    <a:chOff x="5291815" y="47358"/>
                    <a:chExt cx="3695440" cy="4672088"/>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47358"/>
                      <a:ext cx="3695440" cy="4672088"/>
                      <a:chOff x="5291815" y="47358"/>
                      <a:chExt cx="3695440" cy="4672088"/>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47358"/>
                        <a:ext cx="3695440" cy="4672088"/>
                        <a:chOff x="5291815" y="47358"/>
                        <a:chExt cx="3695440" cy="4672088"/>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47358"/>
                          <a:ext cx="3695440" cy="4672088"/>
                          <a:chOff x="5291815" y="47358"/>
                          <a:chExt cx="3695440" cy="4672088"/>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47358"/>
                            <a:ext cx="3695440" cy="4672088"/>
                            <a:chOff x="5291815" y="47358"/>
                            <a:chExt cx="3695440" cy="4672088"/>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47358"/>
                              <a:ext cx="3695440" cy="4672088"/>
                              <a:chOff x="5291815" y="47358"/>
                              <a:chExt cx="3695440" cy="4672088"/>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47358"/>
                                <a:ext cx="3695440" cy="4672088"/>
                                <a:chOff x="5291815" y="47358"/>
                                <a:chExt cx="3695440" cy="4672088"/>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47358"/>
                                  <a:ext cx="3695440" cy="4672088"/>
                                  <a:chOff x="5291815" y="47358"/>
                                  <a:chExt cx="3695440" cy="4672088"/>
                                </a:xfrm>
                              </p:grpSpPr>
                              <p:sp>
                                <p:nvSpPr>
                                  <p:cNvPr id="18" name="Rechteck 17">
                                    <a:extLst>
                                      <a:ext uri="{FF2B5EF4-FFF2-40B4-BE49-F238E27FC236}">
                                        <a16:creationId xmlns:a16="http://schemas.microsoft.com/office/drawing/2014/main" id="{31EF5CDD-FF3D-42EC-639D-BEE68101E676}"/>
                                      </a:ext>
                                    </a:extLst>
                                  </p:cNvPr>
                                  <p:cNvSpPr/>
                                  <p:nvPr/>
                                </p:nvSpPr>
                                <p:spPr>
                                  <a:xfrm>
                                    <a:off x="5291819" y="99321"/>
                                    <a:ext cx="3695435" cy="4620125"/>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sp>
                                <p:nvSpPr>
                                  <p:cNvPr id="1424" name="Rectangle 21">
                                    <a:extLst>
                                      <a:ext uri="{FF2B5EF4-FFF2-40B4-BE49-F238E27FC236}">
                                        <a16:creationId xmlns:a16="http://schemas.microsoft.com/office/drawing/2014/main" id="{C6479740-D8CC-A16C-87B1-9A6E358D2E9E}"/>
                                      </a:ext>
                                    </a:extLst>
                                  </p:cNvPr>
                                  <p:cNvSpPr/>
                                  <p:nvPr/>
                                </p:nvSpPr>
                                <p:spPr>
                                  <a:xfrm>
                                    <a:off x="5291819" y="47358"/>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m:t>
                                      </m:r>
                                      <m:r>
                                        <a:rPr lang="de-DE">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026228923"/>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2215550"/>
            <a:chOff x="1153865" y="2635249"/>
            <a:chExt cx="8796585" cy="2215550"/>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2215549"/>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153865" y="2699826"/>
              <a:ext cx="8711386" cy="2150973"/>
              <a:chOff x="245462" y="3567107"/>
              <a:chExt cx="8711386" cy="2150973"/>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245462" y="3567107"/>
                <a:ext cx="8711386" cy="2150973"/>
                <a:chOff x="94323" y="2356664"/>
                <a:chExt cx="10087902" cy="2579661"/>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94323" y="2356664"/>
                  <a:ext cx="10087902" cy="1525301"/>
                  <a:chOff x="94323" y="2356664"/>
                  <a:chExt cx="10087902" cy="1525301"/>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94323" y="2356664"/>
                    <a:ext cx="10087902" cy="1525301"/>
                    <a:chOff x="1755714" y="2452839"/>
                    <a:chExt cx="10087902" cy="1321959"/>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755714" y="2452845"/>
                      <a:ext cx="10087902" cy="1321953"/>
                      <a:chOff x="2335241" y="4138485"/>
                      <a:chExt cx="7878876" cy="1032474"/>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339927" y="4138485"/>
                        <a:ext cx="7874190" cy="515550"/>
                        <a:chOff x="1121515" y="4164707"/>
                        <a:chExt cx="7874190" cy="515550"/>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0"/>
                          <a:endCxn id="18" idx="1"/>
                        </p:cNvCxnSpPr>
                        <p:nvPr/>
                      </p:nvCxnSpPr>
                      <p:spPr>
                        <a:xfrm rot="5400000" flipH="1" flipV="1">
                          <a:off x="1957408" y="3900412"/>
                          <a:ext cx="59576" cy="107536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21515" y="4467880"/>
                          <a:ext cx="65600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35241" y="4625687"/>
                        <a:ext cx="7878875" cy="545272"/>
                        <a:chOff x="1116830" y="3688471"/>
                        <a:chExt cx="7878875" cy="545272"/>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0"/>
                          <a:endCxn id="16" idx="1"/>
                        </p:cNvCxnSpPr>
                        <p:nvPr/>
                      </p:nvCxnSpPr>
                      <p:spPr>
                        <a:xfrm rot="5400000" flipH="1" flipV="1">
                          <a:off x="2075979" y="3572470"/>
                          <a:ext cx="71241" cy="82655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16830" y="4021366"/>
                          <a:ext cx="1162988"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0"/>
                  <a:endCxn id="12" idx="1"/>
                </p:cNvCxnSpPr>
                <p:nvPr/>
              </p:nvCxnSpPr>
              <p:spPr>
                <a:xfrm rot="5400000" flipH="1" flipV="1">
                  <a:off x="1336257" y="3857792"/>
                  <a:ext cx="221249" cy="90229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94323" y="4419562"/>
                  <a:ext cx="1802824" cy="516763"/>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spTree>
    <p:extLst>
      <p:ext uri="{BB962C8B-B14F-4D97-AF65-F5344CB8AC3E}">
        <p14:creationId xmlns:p14="http://schemas.microsoft.com/office/powerpoint/2010/main" val="1296772529"/>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58221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408295" y="240437"/>
            <a:ext cx="3394078" cy="1686879"/>
            <a:chOff x="5019675" y="240437"/>
            <a:chExt cx="3394078" cy="1686879"/>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4" name="Rectangle 21">
              <a:extLst>
                <a:ext uri="{FF2B5EF4-FFF2-40B4-BE49-F238E27FC236}">
                  <a16:creationId xmlns:a16="http://schemas.microsoft.com/office/drawing/2014/main" id="{2FCDC64E-8D5A-CFE4-C547-A1D1A3BF6F35}"/>
                </a:ext>
              </a:extLst>
            </p:cNvPr>
            <p:cNvSpPr/>
            <p:nvPr/>
          </p:nvSpPr>
          <p:spPr>
            <a:xfrm>
              <a:off x="5019675" y="240437"/>
              <a:ext cx="3394078" cy="12724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multiple Sensor objects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1: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7"/>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8"/>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4993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1"/>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2"/>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5204056"/>
            <a:ext cx="4033339"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 for each track – sensor object association </a:t>
            </a:r>
            <a:r>
              <a:rPr lang="en-US" sz="800" kern="1200" dirty="0">
                <a:solidFill>
                  <a:schemeClr val="tx1"/>
                </a:solidFill>
                <a:latin typeface="Daimler CS" pitchFamily="2" charset="0"/>
                <a:sym typeface="Wingdings" panose="05000000000000000000" pitchFamily="2" charset="2"/>
              </a:rPr>
              <a:t> 288</a:t>
            </a:r>
            <a:endParaRPr lang="en-US" sz="800" kern="1200" dirty="0">
              <a:solidFill>
                <a:schemeClr val="tx1"/>
              </a:solidFill>
              <a:latin typeface="Daimler CS" pitchFamily="2" charset="0"/>
            </a:endParaRP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spTree>
    <p:extLst>
      <p:ext uri="{BB962C8B-B14F-4D97-AF65-F5344CB8AC3E}">
        <p14:creationId xmlns:p14="http://schemas.microsoft.com/office/powerpoint/2010/main" val="2846639514"/>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02</Words>
  <Application>Microsoft Office PowerPoint</Application>
  <PresentationFormat>Breitbild</PresentationFormat>
  <Paragraphs>1308</Paragraphs>
  <Slides>49</Slides>
  <Notes>40</Notes>
  <HiddenSlides>14</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49</vt:i4>
      </vt:variant>
    </vt:vector>
  </HeadingPairs>
  <TitlesOfParts>
    <vt:vector size="60"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10</cp:revision>
  <dcterms:created xsi:type="dcterms:W3CDTF">2022-02-05T01:08:08Z</dcterms:created>
  <dcterms:modified xsi:type="dcterms:W3CDTF">2024-06-30T11:1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